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669" r:id="rId2"/>
    <p:sldId id="680" r:id="rId3"/>
    <p:sldId id="693" r:id="rId4"/>
    <p:sldId id="695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A953E"/>
    <a:srgbClr val="A7FC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275" autoAdjust="0"/>
    <p:restoredTop sz="94625"/>
  </p:normalViewPr>
  <p:slideViewPr>
    <p:cSldViewPr snapToGrid="0">
      <p:cViewPr varScale="1">
        <p:scale>
          <a:sx n="65" d="100"/>
          <a:sy n="65" d="100"/>
        </p:scale>
        <p:origin x="739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54" d="100"/>
          <a:sy n="54" d="100"/>
        </p:scale>
        <p:origin x="1962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4A516D6-A0BA-4BE0-A9D6-12DB2826D53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94AD33-CBB5-4AA7-9A25-665501F93F1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AB26C5-3494-4434-BAA6-AE83E26E1006}" type="datetimeFigureOut">
              <a:rPr lang="en-US" smtClean="0"/>
              <a:t>10/11/20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E58139-CC79-44F6-9FBA-205EB845A6F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1C194D-2798-43F4-B6D4-1DB266C79ED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2FB22E-DF19-463A-A0E7-E16E5CA4ACC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29142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314F08-A4B3-42C6-9479-DBDDB984F7B3}" type="datetimeFigureOut">
              <a:rPr lang="en-US" smtClean="0"/>
              <a:t>10/11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BE0CC3-6FFB-43BE-878F-534D6EFBB4E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8718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0B74855-BE3B-495C-9198-3DCE4E70EC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10099343" cy="3429000"/>
          </a:xfrm>
          <a:custGeom>
            <a:avLst/>
            <a:gdLst>
              <a:gd name="connsiteX0" fmla="*/ 0 w 10099343"/>
              <a:gd name="connsiteY0" fmla="*/ 0 h 3429000"/>
              <a:gd name="connsiteX1" fmla="*/ 10099343 w 10099343"/>
              <a:gd name="connsiteY1" fmla="*/ 0 h 3429000"/>
              <a:gd name="connsiteX2" fmla="*/ 10099343 w 10099343"/>
              <a:gd name="connsiteY2" fmla="*/ 3429000 h 3429000"/>
              <a:gd name="connsiteX3" fmla="*/ 0 w 10099343"/>
              <a:gd name="connsiteY3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99343" h="3429000">
                <a:moveTo>
                  <a:pt x="0" y="0"/>
                </a:moveTo>
                <a:lnTo>
                  <a:pt x="10099343" y="0"/>
                </a:lnTo>
                <a:lnTo>
                  <a:pt x="10099343" y="3429000"/>
                </a:lnTo>
                <a:lnTo>
                  <a:pt x="0" y="3429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9127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68F84AB-BCA1-45FD-8B04-53F956D8BF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34858" y="290869"/>
            <a:ext cx="6952342" cy="6276260"/>
          </a:xfrm>
          <a:custGeom>
            <a:avLst/>
            <a:gdLst>
              <a:gd name="connsiteX0" fmla="*/ 0 w 7112000"/>
              <a:gd name="connsiteY0" fmla="*/ 0 h 6276260"/>
              <a:gd name="connsiteX1" fmla="*/ 7112000 w 7112000"/>
              <a:gd name="connsiteY1" fmla="*/ 0 h 6276260"/>
              <a:gd name="connsiteX2" fmla="*/ 7112000 w 7112000"/>
              <a:gd name="connsiteY2" fmla="*/ 6276260 h 6276260"/>
              <a:gd name="connsiteX3" fmla="*/ 0 w 7112000"/>
              <a:gd name="connsiteY3" fmla="*/ 6276260 h 6276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2000" h="6276260">
                <a:moveTo>
                  <a:pt x="0" y="0"/>
                </a:moveTo>
                <a:lnTo>
                  <a:pt x="7112000" y="0"/>
                </a:lnTo>
                <a:lnTo>
                  <a:pt x="7112000" y="6276260"/>
                </a:lnTo>
                <a:lnTo>
                  <a:pt x="0" y="627626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77818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9526413-9185-4E14-B970-E66359212D5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1206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f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45122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6201B106-09DF-2747-8042-C521DBC097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5" imgW="38100" imgH="38100" progId="">
                  <p:embed/>
                </p:oleObj>
              </mc:Choice>
              <mc:Fallback>
                <p:oleObj name="think-cell Slide" r:id="rId5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22032F9A-49D3-B54A-9AFB-57E94BC5827F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 rot="16200000">
            <a:off x="10562168" y="5129369"/>
            <a:ext cx="2743200" cy="727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eaLnBrk="1" fontAlgn="auto" latinLnBrk="1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defRPr/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170860-46-06Jun18-AD-rrdc2-WAS.pptx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07669F1-48AD-5D47-B99E-D2C54D369CE3}"/>
              </a:ext>
            </a:extLst>
          </p:cNvPr>
          <p:cNvCxnSpPr/>
          <p:nvPr userDrawn="1"/>
        </p:nvCxnSpPr>
        <p:spPr>
          <a:xfrm>
            <a:off x="630767" y="977900"/>
            <a:ext cx="10932584" cy="0"/>
          </a:xfrm>
          <a:prstGeom prst="line">
            <a:avLst/>
          </a:prstGeom>
          <a:ln w="25400" cap="rnd">
            <a:solidFill>
              <a:srgbClr val="92C847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>
                <a:latin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6">
            <a:extLst>
              <a:ext uri="{FF2B5EF4-FFF2-40B4-BE49-F238E27FC236}">
                <a16:creationId xmlns:a16="http://schemas.microsoft.com/office/drawing/2014/main" id="{D809E9C9-4096-BA44-AF21-F5BF6D9637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677400" y="6405564"/>
            <a:ext cx="1481667" cy="153987"/>
          </a:xfrm>
          <a:prstGeom prst="rect">
            <a:avLst/>
          </a:prstGeom>
        </p:spPr>
        <p:txBody>
          <a:bodyPr/>
          <a:lstStyle>
            <a:lvl1pPr eaLnBrk="1" fontAlgn="auto" latinLnBrk="1" hangingPunct="1">
              <a:spcBef>
                <a:spcPts val="0"/>
              </a:spcBef>
              <a:spcAft>
                <a:spcPts val="0"/>
              </a:spcAft>
              <a:defRPr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+mn-ea"/>
                <a:cs typeface="+mn-cs"/>
                <a:sym typeface="Open Sans" panose="020B0606030504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02531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21D380B-6B80-4578-B933-7ACCD5658D1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45435" y="1064307"/>
            <a:ext cx="5463344" cy="5050086"/>
          </a:xfrm>
          <a:custGeom>
            <a:avLst/>
            <a:gdLst>
              <a:gd name="connsiteX0" fmla="*/ 3111554 w 5463344"/>
              <a:gd name="connsiteY0" fmla="*/ 3264824 h 5050086"/>
              <a:gd name="connsiteX1" fmla="*/ 5165936 w 5463344"/>
              <a:gd name="connsiteY1" fmla="*/ 3268902 h 5050086"/>
              <a:gd name="connsiteX2" fmla="*/ 4142276 w 5463344"/>
              <a:gd name="connsiteY2" fmla="*/ 5050086 h 5050086"/>
              <a:gd name="connsiteX3" fmla="*/ 1812117 w 5463344"/>
              <a:gd name="connsiteY3" fmla="*/ 1192191 h 5050086"/>
              <a:gd name="connsiteX4" fmla="*/ 3624234 w 5463344"/>
              <a:gd name="connsiteY4" fmla="*/ 4316529 h 5050086"/>
              <a:gd name="connsiteX5" fmla="*/ 0 w 5463344"/>
              <a:gd name="connsiteY5" fmla="*/ 4316529 h 5050086"/>
              <a:gd name="connsiteX6" fmla="*/ 4274983 w 5463344"/>
              <a:gd name="connsiteY6" fmla="*/ 1146385 h 5050086"/>
              <a:gd name="connsiteX7" fmla="*/ 5463344 w 5463344"/>
              <a:gd name="connsiteY7" fmla="*/ 3204687 h 5050086"/>
              <a:gd name="connsiteX8" fmla="*/ 3094764 w 5463344"/>
              <a:gd name="connsiteY8" fmla="*/ 3199986 h 5050086"/>
              <a:gd name="connsiteX9" fmla="*/ 1225492 w 5463344"/>
              <a:gd name="connsiteY9" fmla="*/ 0 h 5050086"/>
              <a:gd name="connsiteX10" fmla="*/ 4849726 w 5463344"/>
              <a:gd name="connsiteY10" fmla="*/ 0 h 5050086"/>
              <a:gd name="connsiteX11" fmla="*/ 3037609 w 5463344"/>
              <a:gd name="connsiteY11" fmla="*/ 3124338 h 5050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463344" h="5050086">
                <a:moveTo>
                  <a:pt x="3111554" y="3264824"/>
                </a:moveTo>
                <a:lnTo>
                  <a:pt x="5165936" y="3268902"/>
                </a:lnTo>
                <a:lnTo>
                  <a:pt x="4142276" y="5050086"/>
                </a:lnTo>
                <a:close/>
                <a:moveTo>
                  <a:pt x="1812117" y="1192191"/>
                </a:moveTo>
                <a:lnTo>
                  <a:pt x="3624234" y="4316529"/>
                </a:lnTo>
                <a:lnTo>
                  <a:pt x="0" y="4316529"/>
                </a:lnTo>
                <a:close/>
                <a:moveTo>
                  <a:pt x="4274983" y="1146385"/>
                </a:moveTo>
                <a:lnTo>
                  <a:pt x="5463344" y="3204687"/>
                </a:lnTo>
                <a:lnTo>
                  <a:pt x="3094764" y="3199986"/>
                </a:lnTo>
                <a:close/>
                <a:moveTo>
                  <a:pt x="1225492" y="0"/>
                </a:moveTo>
                <a:lnTo>
                  <a:pt x="4849726" y="0"/>
                </a:lnTo>
                <a:lnTo>
                  <a:pt x="3037609" y="312433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17423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A76C7F2-90A8-4AAF-9E9A-5F86B76A0DC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17215" y="2306208"/>
            <a:ext cx="4957570" cy="5750784"/>
          </a:xfrm>
          <a:custGeom>
            <a:avLst/>
            <a:gdLst>
              <a:gd name="connsiteX0" fmla="*/ 2478785 w 4957570"/>
              <a:gd name="connsiteY0" fmla="*/ 0 h 5750784"/>
              <a:gd name="connsiteX1" fmla="*/ 4957570 w 4957570"/>
              <a:gd name="connsiteY1" fmla="*/ 1239393 h 5750784"/>
              <a:gd name="connsiteX2" fmla="*/ 4957570 w 4957570"/>
              <a:gd name="connsiteY2" fmla="*/ 4511391 h 5750784"/>
              <a:gd name="connsiteX3" fmla="*/ 2478785 w 4957570"/>
              <a:gd name="connsiteY3" fmla="*/ 5750784 h 5750784"/>
              <a:gd name="connsiteX4" fmla="*/ 0 w 4957570"/>
              <a:gd name="connsiteY4" fmla="*/ 4511391 h 5750784"/>
              <a:gd name="connsiteX5" fmla="*/ 0 w 4957570"/>
              <a:gd name="connsiteY5" fmla="*/ 1239393 h 5750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57570" h="5750784">
                <a:moveTo>
                  <a:pt x="2478785" y="0"/>
                </a:moveTo>
                <a:lnTo>
                  <a:pt x="4957570" y="1239393"/>
                </a:lnTo>
                <a:lnTo>
                  <a:pt x="4957570" y="4511391"/>
                </a:lnTo>
                <a:lnTo>
                  <a:pt x="2478785" y="5750784"/>
                </a:lnTo>
                <a:lnTo>
                  <a:pt x="0" y="4511391"/>
                </a:lnTo>
                <a:lnTo>
                  <a:pt x="0" y="123939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33610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77223D5-1233-44BF-A96D-AABD81B1359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96124" y="-602343"/>
            <a:ext cx="11378006" cy="8062686"/>
          </a:xfrm>
          <a:custGeom>
            <a:avLst/>
            <a:gdLst>
              <a:gd name="connsiteX0" fmla="*/ 11069026 w 11378006"/>
              <a:gd name="connsiteY0" fmla="*/ 3576223 h 8062686"/>
              <a:gd name="connsiteX1" fmla="*/ 11378006 w 11378006"/>
              <a:gd name="connsiteY1" fmla="*/ 3885203 h 8062686"/>
              <a:gd name="connsiteX2" fmla="*/ 11378005 w 11378006"/>
              <a:gd name="connsiteY2" fmla="*/ 4803791 h 8062686"/>
              <a:gd name="connsiteX3" fmla="*/ 11069025 w 11378006"/>
              <a:gd name="connsiteY3" fmla="*/ 5112771 h 8062686"/>
              <a:gd name="connsiteX4" fmla="*/ 11069026 w 11378006"/>
              <a:gd name="connsiteY4" fmla="*/ 5112770 h 8062686"/>
              <a:gd name="connsiteX5" fmla="*/ 10760046 w 11378006"/>
              <a:gd name="connsiteY5" fmla="*/ 4803790 h 8062686"/>
              <a:gd name="connsiteX6" fmla="*/ 10760046 w 11378006"/>
              <a:gd name="connsiteY6" fmla="*/ 3885203 h 8062686"/>
              <a:gd name="connsiteX7" fmla="*/ 11069026 w 11378006"/>
              <a:gd name="connsiteY7" fmla="*/ 3576223 h 8062686"/>
              <a:gd name="connsiteX8" fmla="*/ 308979 w 11378006"/>
              <a:gd name="connsiteY8" fmla="*/ 2869537 h 8062686"/>
              <a:gd name="connsiteX9" fmla="*/ 617959 w 11378006"/>
              <a:gd name="connsiteY9" fmla="*/ 3178517 h 8062686"/>
              <a:gd name="connsiteX10" fmla="*/ 617958 w 11378006"/>
              <a:gd name="connsiteY10" fmla="*/ 4097104 h 8062686"/>
              <a:gd name="connsiteX11" fmla="*/ 308978 w 11378006"/>
              <a:gd name="connsiteY11" fmla="*/ 4406084 h 8062686"/>
              <a:gd name="connsiteX12" fmla="*/ 308979 w 11378006"/>
              <a:gd name="connsiteY12" fmla="*/ 4406083 h 8062686"/>
              <a:gd name="connsiteX13" fmla="*/ 0 w 11378006"/>
              <a:gd name="connsiteY13" fmla="*/ 4097103 h 8062686"/>
              <a:gd name="connsiteX14" fmla="*/ 0 w 11378006"/>
              <a:gd name="connsiteY14" fmla="*/ 3178517 h 8062686"/>
              <a:gd name="connsiteX15" fmla="*/ 308979 w 11378006"/>
              <a:gd name="connsiteY15" fmla="*/ 2869537 h 8062686"/>
              <a:gd name="connsiteX16" fmla="*/ 10413467 w 11378006"/>
              <a:gd name="connsiteY16" fmla="*/ 2852837 h 8062686"/>
              <a:gd name="connsiteX17" fmla="*/ 10722447 w 11378006"/>
              <a:gd name="connsiteY17" fmla="*/ 3161817 h 8062686"/>
              <a:gd name="connsiteX18" fmla="*/ 10722446 w 11378006"/>
              <a:gd name="connsiteY18" fmla="*/ 5527178 h 8062686"/>
              <a:gd name="connsiteX19" fmla="*/ 10413466 w 11378006"/>
              <a:gd name="connsiteY19" fmla="*/ 5836158 h 8062686"/>
              <a:gd name="connsiteX20" fmla="*/ 10413467 w 11378006"/>
              <a:gd name="connsiteY20" fmla="*/ 5836156 h 8062686"/>
              <a:gd name="connsiteX21" fmla="*/ 10104487 w 11378006"/>
              <a:gd name="connsiteY21" fmla="*/ 5527176 h 8062686"/>
              <a:gd name="connsiteX22" fmla="*/ 10104487 w 11378006"/>
              <a:gd name="connsiteY22" fmla="*/ 3161817 h 8062686"/>
              <a:gd name="connsiteX23" fmla="*/ 10413467 w 11378006"/>
              <a:gd name="connsiteY23" fmla="*/ 2852837 h 8062686"/>
              <a:gd name="connsiteX24" fmla="*/ 9757908 w 11378006"/>
              <a:gd name="connsiteY24" fmla="*/ 2263062 h 8062686"/>
              <a:gd name="connsiteX25" fmla="*/ 10066888 w 11378006"/>
              <a:gd name="connsiteY25" fmla="*/ 2572042 h 8062686"/>
              <a:gd name="connsiteX26" fmla="*/ 10066887 w 11378006"/>
              <a:gd name="connsiteY26" fmla="*/ 6279791 h 8062686"/>
              <a:gd name="connsiteX27" fmla="*/ 9757907 w 11378006"/>
              <a:gd name="connsiteY27" fmla="*/ 6588771 h 8062686"/>
              <a:gd name="connsiteX28" fmla="*/ 9757908 w 11378006"/>
              <a:gd name="connsiteY28" fmla="*/ 6588770 h 8062686"/>
              <a:gd name="connsiteX29" fmla="*/ 9448928 w 11378006"/>
              <a:gd name="connsiteY29" fmla="*/ 6279790 h 8062686"/>
              <a:gd name="connsiteX30" fmla="*/ 9448928 w 11378006"/>
              <a:gd name="connsiteY30" fmla="*/ 2572042 h 8062686"/>
              <a:gd name="connsiteX31" fmla="*/ 9757908 w 11378006"/>
              <a:gd name="connsiteY31" fmla="*/ 2263062 h 8062686"/>
              <a:gd name="connsiteX32" fmla="*/ 989559 w 11378006"/>
              <a:gd name="connsiteY32" fmla="*/ 2263062 h 8062686"/>
              <a:gd name="connsiteX33" fmla="*/ 1298539 w 11378006"/>
              <a:gd name="connsiteY33" fmla="*/ 2572042 h 8062686"/>
              <a:gd name="connsiteX34" fmla="*/ 1298537 w 11378006"/>
              <a:gd name="connsiteY34" fmla="*/ 4937403 h 8062686"/>
              <a:gd name="connsiteX35" fmla="*/ 989558 w 11378006"/>
              <a:gd name="connsiteY35" fmla="*/ 5246383 h 8062686"/>
              <a:gd name="connsiteX36" fmla="*/ 989559 w 11378006"/>
              <a:gd name="connsiteY36" fmla="*/ 5246382 h 8062686"/>
              <a:gd name="connsiteX37" fmla="*/ 680579 w 11378006"/>
              <a:gd name="connsiteY37" fmla="*/ 4937402 h 8062686"/>
              <a:gd name="connsiteX38" fmla="*/ 680579 w 11378006"/>
              <a:gd name="connsiteY38" fmla="*/ 2572042 h 8062686"/>
              <a:gd name="connsiteX39" fmla="*/ 989559 w 11378006"/>
              <a:gd name="connsiteY39" fmla="*/ 2263062 h 8062686"/>
              <a:gd name="connsiteX40" fmla="*/ 2346556 w 11378006"/>
              <a:gd name="connsiteY40" fmla="*/ 1874753 h 8062686"/>
              <a:gd name="connsiteX41" fmla="*/ 2655536 w 11378006"/>
              <a:gd name="connsiteY41" fmla="*/ 2183733 h 8062686"/>
              <a:gd name="connsiteX42" fmla="*/ 2655535 w 11378006"/>
              <a:gd name="connsiteY42" fmla="*/ 6668104 h 8062686"/>
              <a:gd name="connsiteX43" fmla="*/ 2346556 w 11378006"/>
              <a:gd name="connsiteY43" fmla="*/ 6977084 h 8062686"/>
              <a:gd name="connsiteX44" fmla="*/ 2346556 w 11378006"/>
              <a:gd name="connsiteY44" fmla="*/ 6977082 h 8062686"/>
              <a:gd name="connsiteX45" fmla="*/ 2037576 w 11378006"/>
              <a:gd name="connsiteY45" fmla="*/ 6668102 h 8062686"/>
              <a:gd name="connsiteX46" fmla="*/ 2037576 w 11378006"/>
              <a:gd name="connsiteY46" fmla="*/ 2183733 h 8062686"/>
              <a:gd name="connsiteX47" fmla="*/ 2346556 w 11378006"/>
              <a:gd name="connsiteY47" fmla="*/ 1874753 h 8062686"/>
              <a:gd name="connsiteX48" fmla="*/ 1670141 w 11378006"/>
              <a:gd name="connsiteY48" fmla="*/ 1686859 h 8062686"/>
              <a:gd name="connsiteX49" fmla="*/ 1979121 w 11378006"/>
              <a:gd name="connsiteY49" fmla="*/ 1995839 h 8062686"/>
              <a:gd name="connsiteX50" fmla="*/ 1979120 w 11378006"/>
              <a:gd name="connsiteY50" fmla="*/ 5703587 h 8062686"/>
              <a:gd name="connsiteX51" fmla="*/ 1670140 w 11378006"/>
              <a:gd name="connsiteY51" fmla="*/ 6012567 h 8062686"/>
              <a:gd name="connsiteX52" fmla="*/ 1670141 w 11378006"/>
              <a:gd name="connsiteY52" fmla="*/ 6012565 h 8062686"/>
              <a:gd name="connsiteX53" fmla="*/ 1361161 w 11378006"/>
              <a:gd name="connsiteY53" fmla="*/ 5703585 h 8062686"/>
              <a:gd name="connsiteX54" fmla="*/ 1361161 w 11378006"/>
              <a:gd name="connsiteY54" fmla="*/ 1995839 h 8062686"/>
              <a:gd name="connsiteX55" fmla="*/ 1670141 w 11378006"/>
              <a:gd name="connsiteY55" fmla="*/ 1686859 h 8062686"/>
              <a:gd name="connsiteX56" fmla="*/ 9077327 w 11378006"/>
              <a:gd name="connsiteY56" fmla="*/ 1636754 h 8062686"/>
              <a:gd name="connsiteX57" fmla="*/ 9386307 w 11378006"/>
              <a:gd name="connsiteY57" fmla="*/ 1945733 h 8062686"/>
              <a:gd name="connsiteX58" fmla="*/ 9386306 w 11378006"/>
              <a:gd name="connsiteY58" fmla="*/ 7290235 h 8062686"/>
              <a:gd name="connsiteX59" fmla="*/ 9077326 w 11378006"/>
              <a:gd name="connsiteY59" fmla="*/ 7599215 h 8062686"/>
              <a:gd name="connsiteX60" fmla="*/ 9077327 w 11378006"/>
              <a:gd name="connsiteY60" fmla="*/ 7599213 h 8062686"/>
              <a:gd name="connsiteX61" fmla="*/ 8768347 w 11378006"/>
              <a:gd name="connsiteY61" fmla="*/ 7290234 h 8062686"/>
              <a:gd name="connsiteX62" fmla="*/ 8768347 w 11378006"/>
              <a:gd name="connsiteY62" fmla="*/ 1945733 h 8062686"/>
              <a:gd name="connsiteX63" fmla="*/ 9077327 w 11378006"/>
              <a:gd name="connsiteY63" fmla="*/ 1636754 h 8062686"/>
              <a:gd name="connsiteX64" fmla="*/ 3699386 w 11378006"/>
              <a:gd name="connsiteY64" fmla="*/ 1444690 h 8062686"/>
              <a:gd name="connsiteX65" fmla="*/ 4008366 w 11378006"/>
              <a:gd name="connsiteY65" fmla="*/ 1753669 h 8062686"/>
              <a:gd name="connsiteX66" fmla="*/ 4008365 w 11378006"/>
              <a:gd name="connsiteY66" fmla="*/ 7098169 h 8062686"/>
              <a:gd name="connsiteX67" fmla="*/ 3699385 w 11378006"/>
              <a:gd name="connsiteY67" fmla="*/ 7407149 h 8062686"/>
              <a:gd name="connsiteX68" fmla="*/ 3699386 w 11378006"/>
              <a:gd name="connsiteY68" fmla="*/ 7407148 h 8062686"/>
              <a:gd name="connsiteX69" fmla="*/ 3390407 w 11378006"/>
              <a:gd name="connsiteY69" fmla="*/ 7098168 h 8062686"/>
              <a:gd name="connsiteX70" fmla="*/ 3390407 w 11378006"/>
              <a:gd name="connsiteY70" fmla="*/ 1753669 h 8062686"/>
              <a:gd name="connsiteX71" fmla="*/ 3699386 w 11378006"/>
              <a:gd name="connsiteY71" fmla="*/ 1444690 h 8062686"/>
              <a:gd name="connsiteX72" fmla="*/ 6388357 w 11378006"/>
              <a:gd name="connsiteY72" fmla="*/ 1160760 h 8062686"/>
              <a:gd name="connsiteX73" fmla="*/ 6697337 w 11378006"/>
              <a:gd name="connsiteY73" fmla="*/ 1469740 h 8062686"/>
              <a:gd name="connsiteX74" fmla="*/ 6697335 w 11378006"/>
              <a:gd name="connsiteY74" fmla="*/ 7753706 h 8062686"/>
              <a:gd name="connsiteX75" fmla="*/ 6388356 w 11378006"/>
              <a:gd name="connsiteY75" fmla="*/ 8062686 h 8062686"/>
              <a:gd name="connsiteX76" fmla="*/ 6388357 w 11378006"/>
              <a:gd name="connsiteY76" fmla="*/ 8062685 h 8062686"/>
              <a:gd name="connsiteX77" fmla="*/ 6079377 w 11378006"/>
              <a:gd name="connsiteY77" fmla="*/ 7753705 h 8062686"/>
              <a:gd name="connsiteX78" fmla="*/ 6079377 w 11378006"/>
              <a:gd name="connsiteY78" fmla="*/ 1469740 h 8062686"/>
              <a:gd name="connsiteX79" fmla="*/ 6388357 w 11378006"/>
              <a:gd name="connsiteY79" fmla="*/ 1160760 h 8062686"/>
              <a:gd name="connsiteX80" fmla="*/ 8400912 w 11378006"/>
              <a:gd name="connsiteY80" fmla="*/ 1039673 h 8062686"/>
              <a:gd name="connsiteX81" fmla="*/ 8709892 w 11378006"/>
              <a:gd name="connsiteY81" fmla="*/ 1348653 h 8062686"/>
              <a:gd name="connsiteX82" fmla="*/ 8709891 w 11378006"/>
              <a:gd name="connsiteY82" fmla="*/ 7632619 h 8062686"/>
              <a:gd name="connsiteX83" fmla="*/ 8400911 w 11378006"/>
              <a:gd name="connsiteY83" fmla="*/ 7941599 h 8062686"/>
              <a:gd name="connsiteX84" fmla="*/ 8400912 w 11378006"/>
              <a:gd name="connsiteY84" fmla="*/ 7941598 h 8062686"/>
              <a:gd name="connsiteX85" fmla="*/ 8091932 w 11378006"/>
              <a:gd name="connsiteY85" fmla="*/ 7632618 h 8062686"/>
              <a:gd name="connsiteX86" fmla="*/ 8091932 w 11378006"/>
              <a:gd name="connsiteY86" fmla="*/ 1348653 h 8062686"/>
              <a:gd name="connsiteX87" fmla="*/ 8400912 w 11378006"/>
              <a:gd name="connsiteY87" fmla="*/ 1039673 h 8062686"/>
              <a:gd name="connsiteX88" fmla="*/ 3022972 w 11378006"/>
              <a:gd name="connsiteY88" fmla="*/ 910235 h 8062686"/>
              <a:gd name="connsiteX89" fmla="*/ 3331952 w 11378006"/>
              <a:gd name="connsiteY89" fmla="*/ 1219215 h 8062686"/>
              <a:gd name="connsiteX90" fmla="*/ 3331951 w 11378006"/>
              <a:gd name="connsiteY90" fmla="*/ 5703587 h 8062686"/>
              <a:gd name="connsiteX91" fmla="*/ 3022971 w 11378006"/>
              <a:gd name="connsiteY91" fmla="*/ 6012567 h 8062686"/>
              <a:gd name="connsiteX92" fmla="*/ 3022972 w 11378006"/>
              <a:gd name="connsiteY92" fmla="*/ 6012565 h 8062686"/>
              <a:gd name="connsiteX93" fmla="*/ 2713993 w 11378006"/>
              <a:gd name="connsiteY93" fmla="*/ 5703585 h 8062686"/>
              <a:gd name="connsiteX94" fmla="*/ 2713993 w 11378006"/>
              <a:gd name="connsiteY94" fmla="*/ 1219215 h 8062686"/>
              <a:gd name="connsiteX95" fmla="*/ 3022972 w 11378006"/>
              <a:gd name="connsiteY95" fmla="*/ 910235 h 8062686"/>
              <a:gd name="connsiteX96" fmla="*/ 7064772 w 11378006"/>
              <a:gd name="connsiteY96" fmla="*/ 747398 h 8062686"/>
              <a:gd name="connsiteX97" fmla="*/ 7373752 w 11378006"/>
              <a:gd name="connsiteY97" fmla="*/ 1056377 h 8062686"/>
              <a:gd name="connsiteX98" fmla="*/ 7373751 w 11378006"/>
              <a:gd name="connsiteY98" fmla="*/ 7632619 h 8062686"/>
              <a:gd name="connsiteX99" fmla="*/ 7064771 w 11378006"/>
              <a:gd name="connsiteY99" fmla="*/ 7941599 h 8062686"/>
              <a:gd name="connsiteX100" fmla="*/ 7064772 w 11378006"/>
              <a:gd name="connsiteY100" fmla="*/ 7941598 h 8062686"/>
              <a:gd name="connsiteX101" fmla="*/ 6755792 w 11378006"/>
              <a:gd name="connsiteY101" fmla="*/ 7632618 h 8062686"/>
              <a:gd name="connsiteX102" fmla="*/ 6755792 w 11378006"/>
              <a:gd name="connsiteY102" fmla="*/ 1056377 h 8062686"/>
              <a:gd name="connsiteX103" fmla="*/ 7064772 w 11378006"/>
              <a:gd name="connsiteY103" fmla="*/ 747398 h 8062686"/>
              <a:gd name="connsiteX104" fmla="*/ 5052217 w 11378006"/>
              <a:gd name="connsiteY104" fmla="*/ 747398 h 8062686"/>
              <a:gd name="connsiteX105" fmla="*/ 5361197 w 11378006"/>
              <a:gd name="connsiteY105" fmla="*/ 1056377 h 8062686"/>
              <a:gd name="connsiteX106" fmla="*/ 5361196 w 11378006"/>
              <a:gd name="connsiteY106" fmla="*/ 7632619 h 8062686"/>
              <a:gd name="connsiteX107" fmla="*/ 5052216 w 11378006"/>
              <a:gd name="connsiteY107" fmla="*/ 7941599 h 8062686"/>
              <a:gd name="connsiteX108" fmla="*/ 5052217 w 11378006"/>
              <a:gd name="connsiteY108" fmla="*/ 7941598 h 8062686"/>
              <a:gd name="connsiteX109" fmla="*/ 4743237 w 11378006"/>
              <a:gd name="connsiteY109" fmla="*/ 7632618 h 8062686"/>
              <a:gd name="connsiteX110" fmla="*/ 4743237 w 11378006"/>
              <a:gd name="connsiteY110" fmla="*/ 1056377 h 8062686"/>
              <a:gd name="connsiteX111" fmla="*/ 5052217 w 11378006"/>
              <a:gd name="connsiteY111" fmla="*/ 747398 h 8062686"/>
              <a:gd name="connsiteX112" fmla="*/ 7720331 w 11378006"/>
              <a:gd name="connsiteY112" fmla="*/ 0 h 8062686"/>
              <a:gd name="connsiteX113" fmla="*/ 8029311 w 11378006"/>
              <a:gd name="connsiteY113" fmla="*/ 308980 h 8062686"/>
              <a:gd name="connsiteX114" fmla="*/ 8029309 w 11378006"/>
              <a:gd name="connsiteY114" fmla="*/ 6480211 h 8062686"/>
              <a:gd name="connsiteX115" fmla="*/ 7720330 w 11378006"/>
              <a:gd name="connsiteY115" fmla="*/ 6789191 h 8062686"/>
              <a:gd name="connsiteX116" fmla="*/ 7720331 w 11378006"/>
              <a:gd name="connsiteY116" fmla="*/ 6789189 h 8062686"/>
              <a:gd name="connsiteX117" fmla="*/ 7411351 w 11378006"/>
              <a:gd name="connsiteY117" fmla="*/ 6480209 h 8062686"/>
              <a:gd name="connsiteX118" fmla="*/ 7411351 w 11378006"/>
              <a:gd name="connsiteY118" fmla="*/ 308980 h 8062686"/>
              <a:gd name="connsiteX119" fmla="*/ 7720331 w 11378006"/>
              <a:gd name="connsiteY119" fmla="*/ 0 h 8062686"/>
              <a:gd name="connsiteX120" fmla="*/ 5728632 w 11378006"/>
              <a:gd name="connsiteY120" fmla="*/ 0 h 8062686"/>
              <a:gd name="connsiteX121" fmla="*/ 6037612 w 11378006"/>
              <a:gd name="connsiteY121" fmla="*/ 308980 h 8062686"/>
              <a:gd name="connsiteX122" fmla="*/ 6037611 w 11378006"/>
              <a:gd name="connsiteY122" fmla="*/ 6885222 h 8062686"/>
              <a:gd name="connsiteX123" fmla="*/ 5728631 w 11378006"/>
              <a:gd name="connsiteY123" fmla="*/ 7194202 h 8062686"/>
              <a:gd name="connsiteX124" fmla="*/ 5728632 w 11378006"/>
              <a:gd name="connsiteY124" fmla="*/ 7194201 h 8062686"/>
              <a:gd name="connsiteX125" fmla="*/ 5419652 w 11378006"/>
              <a:gd name="connsiteY125" fmla="*/ 6885221 h 8062686"/>
              <a:gd name="connsiteX126" fmla="*/ 5419652 w 11378006"/>
              <a:gd name="connsiteY126" fmla="*/ 308980 h 8062686"/>
              <a:gd name="connsiteX127" fmla="*/ 5728632 w 11378006"/>
              <a:gd name="connsiteY127" fmla="*/ 0 h 8062686"/>
              <a:gd name="connsiteX128" fmla="*/ 4375801 w 11378006"/>
              <a:gd name="connsiteY128" fmla="*/ 0 h 8062686"/>
              <a:gd name="connsiteX129" fmla="*/ 4684781 w 11378006"/>
              <a:gd name="connsiteY129" fmla="*/ 308980 h 8062686"/>
              <a:gd name="connsiteX130" fmla="*/ 4684780 w 11378006"/>
              <a:gd name="connsiteY130" fmla="*/ 6480211 h 8062686"/>
              <a:gd name="connsiteX131" fmla="*/ 4375800 w 11378006"/>
              <a:gd name="connsiteY131" fmla="*/ 6789191 h 8062686"/>
              <a:gd name="connsiteX132" fmla="*/ 4375801 w 11378006"/>
              <a:gd name="connsiteY132" fmla="*/ 6789189 h 8062686"/>
              <a:gd name="connsiteX133" fmla="*/ 4066821 w 11378006"/>
              <a:gd name="connsiteY133" fmla="*/ 6480209 h 8062686"/>
              <a:gd name="connsiteX134" fmla="*/ 4066821 w 11378006"/>
              <a:gd name="connsiteY134" fmla="*/ 308980 h 8062686"/>
              <a:gd name="connsiteX135" fmla="*/ 4375801 w 11378006"/>
              <a:gd name="connsiteY135" fmla="*/ 0 h 8062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11378006" h="8062686">
                <a:moveTo>
                  <a:pt x="11069026" y="3576223"/>
                </a:moveTo>
                <a:cubicBezTo>
                  <a:pt x="11239671" y="3576223"/>
                  <a:pt x="11378006" y="3714558"/>
                  <a:pt x="11378006" y="3885203"/>
                </a:cubicBezTo>
                <a:cubicBezTo>
                  <a:pt x="11378006" y="4191399"/>
                  <a:pt x="11378005" y="4497594"/>
                  <a:pt x="11378005" y="4803791"/>
                </a:cubicBezTo>
                <a:cubicBezTo>
                  <a:pt x="11378005" y="4974436"/>
                  <a:pt x="11239670" y="5112771"/>
                  <a:pt x="11069025" y="5112771"/>
                </a:cubicBezTo>
                <a:lnTo>
                  <a:pt x="11069026" y="5112770"/>
                </a:lnTo>
                <a:cubicBezTo>
                  <a:pt x="10898381" y="5112770"/>
                  <a:pt x="10760046" y="4974435"/>
                  <a:pt x="10760046" y="4803790"/>
                </a:cubicBezTo>
                <a:lnTo>
                  <a:pt x="10760046" y="3885203"/>
                </a:lnTo>
                <a:cubicBezTo>
                  <a:pt x="10760046" y="3714558"/>
                  <a:pt x="10898381" y="3576223"/>
                  <a:pt x="11069026" y="3576223"/>
                </a:cubicBezTo>
                <a:close/>
                <a:moveTo>
                  <a:pt x="308979" y="2869537"/>
                </a:moveTo>
                <a:cubicBezTo>
                  <a:pt x="479624" y="2869537"/>
                  <a:pt x="617959" y="3007872"/>
                  <a:pt x="617959" y="3178517"/>
                </a:cubicBezTo>
                <a:cubicBezTo>
                  <a:pt x="617959" y="3484713"/>
                  <a:pt x="617958" y="3790909"/>
                  <a:pt x="617958" y="4097104"/>
                </a:cubicBezTo>
                <a:cubicBezTo>
                  <a:pt x="617958" y="4267749"/>
                  <a:pt x="479624" y="4406084"/>
                  <a:pt x="308978" y="4406084"/>
                </a:cubicBezTo>
                <a:lnTo>
                  <a:pt x="308979" y="4406083"/>
                </a:lnTo>
                <a:cubicBezTo>
                  <a:pt x="138334" y="4406083"/>
                  <a:pt x="0" y="4267748"/>
                  <a:pt x="0" y="4097103"/>
                </a:cubicBezTo>
                <a:lnTo>
                  <a:pt x="0" y="3178517"/>
                </a:lnTo>
                <a:cubicBezTo>
                  <a:pt x="0" y="3007872"/>
                  <a:pt x="138334" y="2869537"/>
                  <a:pt x="308979" y="2869537"/>
                </a:cubicBezTo>
                <a:close/>
                <a:moveTo>
                  <a:pt x="10413467" y="2852837"/>
                </a:moveTo>
                <a:cubicBezTo>
                  <a:pt x="10584112" y="2852837"/>
                  <a:pt x="10722447" y="2991173"/>
                  <a:pt x="10722447" y="3161817"/>
                </a:cubicBezTo>
                <a:cubicBezTo>
                  <a:pt x="10722447" y="3950271"/>
                  <a:pt x="10722446" y="4738724"/>
                  <a:pt x="10722446" y="5527178"/>
                </a:cubicBezTo>
                <a:cubicBezTo>
                  <a:pt x="10722446" y="5697823"/>
                  <a:pt x="10584111" y="5836158"/>
                  <a:pt x="10413466" y="5836158"/>
                </a:cubicBezTo>
                <a:lnTo>
                  <a:pt x="10413467" y="5836156"/>
                </a:lnTo>
                <a:cubicBezTo>
                  <a:pt x="10242822" y="5836156"/>
                  <a:pt x="10104487" y="5697822"/>
                  <a:pt x="10104487" y="5527176"/>
                </a:cubicBezTo>
                <a:lnTo>
                  <a:pt x="10104487" y="3161817"/>
                </a:lnTo>
                <a:cubicBezTo>
                  <a:pt x="10104487" y="2991173"/>
                  <a:pt x="10242822" y="2852837"/>
                  <a:pt x="10413467" y="2852837"/>
                </a:cubicBezTo>
                <a:close/>
                <a:moveTo>
                  <a:pt x="9757908" y="2263062"/>
                </a:moveTo>
                <a:cubicBezTo>
                  <a:pt x="9928553" y="2263062"/>
                  <a:pt x="10066888" y="2401397"/>
                  <a:pt x="10066888" y="2572042"/>
                </a:cubicBezTo>
                <a:cubicBezTo>
                  <a:pt x="10066888" y="3807960"/>
                  <a:pt x="10066887" y="5043875"/>
                  <a:pt x="10066887" y="6279791"/>
                </a:cubicBezTo>
                <a:cubicBezTo>
                  <a:pt x="10066887" y="6450436"/>
                  <a:pt x="9928552" y="6588771"/>
                  <a:pt x="9757907" y="6588771"/>
                </a:cubicBezTo>
                <a:lnTo>
                  <a:pt x="9757908" y="6588770"/>
                </a:lnTo>
                <a:cubicBezTo>
                  <a:pt x="9587263" y="6588770"/>
                  <a:pt x="9448928" y="6450435"/>
                  <a:pt x="9448928" y="6279790"/>
                </a:cubicBezTo>
                <a:lnTo>
                  <a:pt x="9448928" y="2572042"/>
                </a:lnTo>
                <a:cubicBezTo>
                  <a:pt x="9448928" y="2401397"/>
                  <a:pt x="9587263" y="2263062"/>
                  <a:pt x="9757908" y="2263062"/>
                </a:cubicBezTo>
                <a:close/>
                <a:moveTo>
                  <a:pt x="989559" y="2263062"/>
                </a:moveTo>
                <a:cubicBezTo>
                  <a:pt x="1160204" y="2263062"/>
                  <a:pt x="1298539" y="2401397"/>
                  <a:pt x="1298539" y="2572042"/>
                </a:cubicBezTo>
                <a:cubicBezTo>
                  <a:pt x="1298539" y="3360495"/>
                  <a:pt x="1298537" y="4148950"/>
                  <a:pt x="1298537" y="4937403"/>
                </a:cubicBezTo>
                <a:cubicBezTo>
                  <a:pt x="1298537" y="5108048"/>
                  <a:pt x="1160203" y="5246383"/>
                  <a:pt x="989558" y="5246383"/>
                </a:cubicBezTo>
                <a:lnTo>
                  <a:pt x="989559" y="5246382"/>
                </a:lnTo>
                <a:cubicBezTo>
                  <a:pt x="818913" y="5246382"/>
                  <a:pt x="680579" y="5108047"/>
                  <a:pt x="680579" y="4937402"/>
                </a:cubicBezTo>
                <a:lnTo>
                  <a:pt x="680579" y="2572042"/>
                </a:lnTo>
                <a:cubicBezTo>
                  <a:pt x="680579" y="2401397"/>
                  <a:pt x="818913" y="2263062"/>
                  <a:pt x="989559" y="2263062"/>
                </a:cubicBezTo>
                <a:close/>
                <a:moveTo>
                  <a:pt x="2346556" y="1874753"/>
                </a:moveTo>
                <a:cubicBezTo>
                  <a:pt x="2517200" y="1874753"/>
                  <a:pt x="2655536" y="2013088"/>
                  <a:pt x="2655536" y="2183733"/>
                </a:cubicBezTo>
                <a:cubicBezTo>
                  <a:pt x="2655536" y="3678524"/>
                  <a:pt x="2655535" y="5173312"/>
                  <a:pt x="2655535" y="6668104"/>
                </a:cubicBezTo>
                <a:cubicBezTo>
                  <a:pt x="2655535" y="6838749"/>
                  <a:pt x="2517200" y="6977084"/>
                  <a:pt x="2346556" y="6977084"/>
                </a:cubicBezTo>
                <a:lnTo>
                  <a:pt x="2346556" y="6977082"/>
                </a:lnTo>
                <a:cubicBezTo>
                  <a:pt x="2175911" y="6977082"/>
                  <a:pt x="2037576" y="6838748"/>
                  <a:pt x="2037576" y="6668102"/>
                </a:cubicBezTo>
                <a:lnTo>
                  <a:pt x="2037576" y="2183733"/>
                </a:lnTo>
                <a:cubicBezTo>
                  <a:pt x="2037576" y="2013088"/>
                  <a:pt x="2175911" y="1874753"/>
                  <a:pt x="2346556" y="1874753"/>
                </a:cubicBezTo>
                <a:close/>
                <a:moveTo>
                  <a:pt x="1670141" y="1686859"/>
                </a:moveTo>
                <a:cubicBezTo>
                  <a:pt x="1840787" y="1686859"/>
                  <a:pt x="1979121" y="1825195"/>
                  <a:pt x="1979121" y="1995839"/>
                </a:cubicBezTo>
                <a:cubicBezTo>
                  <a:pt x="1979121" y="3231755"/>
                  <a:pt x="1979120" y="4467670"/>
                  <a:pt x="1979120" y="5703587"/>
                </a:cubicBezTo>
                <a:cubicBezTo>
                  <a:pt x="1979120" y="5874232"/>
                  <a:pt x="1840786" y="6012567"/>
                  <a:pt x="1670140" y="6012567"/>
                </a:cubicBezTo>
                <a:lnTo>
                  <a:pt x="1670141" y="6012565"/>
                </a:lnTo>
                <a:cubicBezTo>
                  <a:pt x="1499496" y="6012565"/>
                  <a:pt x="1361161" y="5874231"/>
                  <a:pt x="1361161" y="5703585"/>
                </a:cubicBezTo>
                <a:lnTo>
                  <a:pt x="1361161" y="1995839"/>
                </a:lnTo>
                <a:cubicBezTo>
                  <a:pt x="1361161" y="1825195"/>
                  <a:pt x="1499496" y="1686859"/>
                  <a:pt x="1670141" y="1686859"/>
                </a:cubicBezTo>
                <a:close/>
                <a:moveTo>
                  <a:pt x="9077327" y="1636754"/>
                </a:moveTo>
                <a:cubicBezTo>
                  <a:pt x="9247972" y="1636754"/>
                  <a:pt x="9386307" y="1775089"/>
                  <a:pt x="9386307" y="1945733"/>
                </a:cubicBezTo>
                <a:cubicBezTo>
                  <a:pt x="9386307" y="3727234"/>
                  <a:pt x="9386306" y="5508734"/>
                  <a:pt x="9386306" y="7290235"/>
                </a:cubicBezTo>
                <a:cubicBezTo>
                  <a:pt x="9386306" y="7460880"/>
                  <a:pt x="9247971" y="7599215"/>
                  <a:pt x="9077326" y="7599215"/>
                </a:cubicBezTo>
                <a:lnTo>
                  <a:pt x="9077327" y="7599213"/>
                </a:lnTo>
                <a:cubicBezTo>
                  <a:pt x="8906682" y="7599213"/>
                  <a:pt x="8768347" y="7460879"/>
                  <a:pt x="8768347" y="7290234"/>
                </a:cubicBezTo>
                <a:lnTo>
                  <a:pt x="8768347" y="1945733"/>
                </a:lnTo>
                <a:cubicBezTo>
                  <a:pt x="8768347" y="1775089"/>
                  <a:pt x="8906682" y="1636754"/>
                  <a:pt x="9077327" y="1636754"/>
                </a:cubicBezTo>
                <a:close/>
                <a:moveTo>
                  <a:pt x="3699386" y="1444690"/>
                </a:moveTo>
                <a:cubicBezTo>
                  <a:pt x="3870031" y="1444690"/>
                  <a:pt x="4008366" y="1583023"/>
                  <a:pt x="4008366" y="1753669"/>
                </a:cubicBezTo>
                <a:cubicBezTo>
                  <a:pt x="4008366" y="3535169"/>
                  <a:pt x="4008365" y="5316669"/>
                  <a:pt x="4008365" y="7098169"/>
                </a:cubicBezTo>
                <a:cubicBezTo>
                  <a:pt x="4008365" y="7268814"/>
                  <a:pt x="3870030" y="7407149"/>
                  <a:pt x="3699385" y="7407149"/>
                </a:cubicBezTo>
                <a:lnTo>
                  <a:pt x="3699386" y="7407148"/>
                </a:lnTo>
                <a:cubicBezTo>
                  <a:pt x="3528741" y="7407148"/>
                  <a:pt x="3390407" y="7268813"/>
                  <a:pt x="3390407" y="7098168"/>
                </a:cubicBezTo>
                <a:lnTo>
                  <a:pt x="3390407" y="1753669"/>
                </a:lnTo>
                <a:cubicBezTo>
                  <a:pt x="3390407" y="1583023"/>
                  <a:pt x="3528741" y="1444690"/>
                  <a:pt x="3699386" y="1444690"/>
                </a:cubicBezTo>
                <a:close/>
                <a:moveTo>
                  <a:pt x="6388357" y="1160760"/>
                </a:moveTo>
                <a:cubicBezTo>
                  <a:pt x="6559002" y="1160760"/>
                  <a:pt x="6697337" y="1299094"/>
                  <a:pt x="6697337" y="1469740"/>
                </a:cubicBezTo>
                <a:cubicBezTo>
                  <a:pt x="6697337" y="3564396"/>
                  <a:pt x="6697335" y="5659050"/>
                  <a:pt x="6697335" y="7753706"/>
                </a:cubicBezTo>
                <a:cubicBezTo>
                  <a:pt x="6697335" y="7924352"/>
                  <a:pt x="6559001" y="8062686"/>
                  <a:pt x="6388356" y="8062686"/>
                </a:cubicBezTo>
                <a:lnTo>
                  <a:pt x="6388357" y="8062685"/>
                </a:lnTo>
                <a:cubicBezTo>
                  <a:pt x="6217711" y="8062685"/>
                  <a:pt x="6079377" y="7924350"/>
                  <a:pt x="6079377" y="7753705"/>
                </a:cubicBezTo>
                <a:lnTo>
                  <a:pt x="6079377" y="1469740"/>
                </a:lnTo>
                <a:cubicBezTo>
                  <a:pt x="6079377" y="1299094"/>
                  <a:pt x="6217711" y="1160760"/>
                  <a:pt x="6388357" y="1160760"/>
                </a:cubicBezTo>
                <a:close/>
                <a:moveTo>
                  <a:pt x="8400912" y="1039673"/>
                </a:moveTo>
                <a:cubicBezTo>
                  <a:pt x="8571557" y="1039673"/>
                  <a:pt x="8709892" y="1178007"/>
                  <a:pt x="8709892" y="1348653"/>
                </a:cubicBezTo>
                <a:cubicBezTo>
                  <a:pt x="8709892" y="3443309"/>
                  <a:pt x="8709891" y="5537963"/>
                  <a:pt x="8709891" y="7632619"/>
                </a:cubicBezTo>
                <a:cubicBezTo>
                  <a:pt x="8709891" y="7803265"/>
                  <a:pt x="8571556" y="7941599"/>
                  <a:pt x="8400911" y="7941599"/>
                </a:cubicBezTo>
                <a:lnTo>
                  <a:pt x="8400912" y="7941598"/>
                </a:lnTo>
                <a:cubicBezTo>
                  <a:pt x="8230267" y="7941598"/>
                  <a:pt x="8091932" y="7803263"/>
                  <a:pt x="8091932" y="7632618"/>
                </a:cubicBezTo>
                <a:lnTo>
                  <a:pt x="8091932" y="1348653"/>
                </a:lnTo>
                <a:cubicBezTo>
                  <a:pt x="8091932" y="1178007"/>
                  <a:pt x="8230267" y="1039673"/>
                  <a:pt x="8400912" y="1039673"/>
                </a:cubicBezTo>
                <a:close/>
                <a:moveTo>
                  <a:pt x="3022972" y="910235"/>
                </a:moveTo>
                <a:cubicBezTo>
                  <a:pt x="3193617" y="910235"/>
                  <a:pt x="3331952" y="1048570"/>
                  <a:pt x="3331952" y="1219215"/>
                </a:cubicBezTo>
                <a:cubicBezTo>
                  <a:pt x="3331952" y="2714006"/>
                  <a:pt x="3331951" y="4208795"/>
                  <a:pt x="3331951" y="5703587"/>
                </a:cubicBezTo>
                <a:cubicBezTo>
                  <a:pt x="3331951" y="5874232"/>
                  <a:pt x="3193616" y="6012567"/>
                  <a:pt x="3022971" y="6012567"/>
                </a:cubicBezTo>
                <a:lnTo>
                  <a:pt x="3022972" y="6012565"/>
                </a:lnTo>
                <a:cubicBezTo>
                  <a:pt x="2852327" y="6012565"/>
                  <a:pt x="2713993" y="5874231"/>
                  <a:pt x="2713993" y="5703585"/>
                </a:cubicBezTo>
                <a:lnTo>
                  <a:pt x="2713993" y="1219215"/>
                </a:lnTo>
                <a:cubicBezTo>
                  <a:pt x="2713993" y="1048570"/>
                  <a:pt x="2852327" y="910235"/>
                  <a:pt x="3022972" y="910235"/>
                </a:cubicBezTo>
                <a:close/>
                <a:moveTo>
                  <a:pt x="7064772" y="747398"/>
                </a:moveTo>
                <a:cubicBezTo>
                  <a:pt x="7235417" y="747398"/>
                  <a:pt x="7373752" y="885732"/>
                  <a:pt x="7373752" y="1056377"/>
                </a:cubicBezTo>
                <a:cubicBezTo>
                  <a:pt x="7373752" y="3248459"/>
                  <a:pt x="7373751" y="5440538"/>
                  <a:pt x="7373751" y="7632619"/>
                </a:cubicBezTo>
                <a:cubicBezTo>
                  <a:pt x="7373751" y="7803265"/>
                  <a:pt x="7235416" y="7941599"/>
                  <a:pt x="7064771" y="7941599"/>
                </a:cubicBezTo>
                <a:lnTo>
                  <a:pt x="7064772" y="7941598"/>
                </a:lnTo>
                <a:cubicBezTo>
                  <a:pt x="6894127" y="7941598"/>
                  <a:pt x="6755792" y="7803263"/>
                  <a:pt x="6755792" y="7632618"/>
                </a:cubicBezTo>
                <a:lnTo>
                  <a:pt x="6755792" y="1056377"/>
                </a:lnTo>
                <a:cubicBezTo>
                  <a:pt x="6755792" y="885732"/>
                  <a:pt x="6894127" y="747398"/>
                  <a:pt x="7064772" y="747398"/>
                </a:cubicBezTo>
                <a:close/>
                <a:moveTo>
                  <a:pt x="5052217" y="747398"/>
                </a:moveTo>
                <a:cubicBezTo>
                  <a:pt x="5222862" y="747398"/>
                  <a:pt x="5361197" y="885732"/>
                  <a:pt x="5361197" y="1056377"/>
                </a:cubicBezTo>
                <a:cubicBezTo>
                  <a:pt x="5361197" y="3248460"/>
                  <a:pt x="5361196" y="5440538"/>
                  <a:pt x="5361196" y="7632619"/>
                </a:cubicBezTo>
                <a:cubicBezTo>
                  <a:pt x="5361196" y="7803265"/>
                  <a:pt x="5222861" y="7941599"/>
                  <a:pt x="5052216" y="7941599"/>
                </a:cubicBezTo>
                <a:lnTo>
                  <a:pt x="5052217" y="7941598"/>
                </a:lnTo>
                <a:cubicBezTo>
                  <a:pt x="4881572" y="7941598"/>
                  <a:pt x="4743237" y="7803263"/>
                  <a:pt x="4743237" y="7632618"/>
                </a:cubicBezTo>
                <a:lnTo>
                  <a:pt x="4743237" y="1056377"/>
                </a:lnTo>
                <a:cubicBezTo>
                  <a:pt x="4743237" y="885732"/>
                  <a:pt x="4881572" y="747398"/>
                  <a:pt x="5052217" y="747398"/>
                </a:cubicBezTo>
                <a:close/>
                <a:moveTo>
                  <a:pt x="7720331" y="0"/>
                </a:moveTo>
                <a:cubicBezTo>
                  <a:pt x="7890976" y="0"/>
                  <a:pt x="8029311" y="138335"/>
                  <a:pt x="8029311" y="308980"/>
                </a:cubicBezTo>
                <a:cubicBezTo>
                  <a:pt x="8029311" y="2366057"/>
                  <a:pt x="8029309" y="4423134"/>
                  <a:pt x="8029309" y="6480211"/>
                </a:cubicBezTo>
                <a:cubicBezTo>
                  <a:pt x="8029309" y="6650856"/>
                  <a:pt x="7890975" y="6789191"/>
                  <a:pt x="7720330" y="6789191"/>
                </a:cubicBezTo>
                <a:lnTo>
                  <a:pt x="7720331" y="6789189"/>
                </a:lnTo>
                <a:cubicBezTo>
                  <a:pt x="7549686" y="6789189"/>
                  <a:pt x="7411351" y="6650855"/>
                  <a:pt x="7411351" y="6480209"/>
                </a:cubicBezTo>
                <a:lnTo>
                  <a:pt x="7411351" y="308980"/>
                </a:lnTo>
                <a:cubicBezTo>
                  <a:pt x="7411351" y="138335"/>
                  <a:pt x="7549686" y="0"/>
                  <a:pt x="7720331" y="0"/>
                </a:cubicBezTo>
                <a:close/>
                <a:moveTo>
                  <a:pt x="5728632" y="0"/>
                </a:moveTo>
                <a:cubicBezTo>
                  <a:pt x="5899277" y="0"/>
                  <a:pt x="6037612" y="138335"/>
                  <a:pt x="6037612" y="308980"/>
                </a:cubicBezTo>
                <a:cubicBezTo>
                  <a:pt x="6037612" y="2501061"/>
                  <a:pt x="6037611" y="4693141"/>
                  <a:pt x="6037611" y="6885222"/>
                </a:cubicBezTo>
                <a:cubicBezTo>
                  <a:pt x="6037611" y="7055867"/>
                  <a:pt x="5899276" y="7194202"/>
                  <a:pt x="5728631" y="7194202"/>
                </a:cubicBezTo>
                <a:lnTo>
                  <a:pt x="5728632" y="7194201"/>
                </a:lnTo>
                <a:cubicBezTo>
                  <a:pt x="5557987" y="7194201"/>
                  <a:pt x="5419652" y="7055866"/>
                  <a:pt x="5419652" y="6885221"/>
                </a:cubicBezTo>
                <a:lnTo>
                  <a:pt x="5419652" y="308980"/>
                </a:lnTo>
                <a:cubicBezTo>
                  <a:pt x="5419652" y="138335"/>
                  <a:pt x="5557987" y="0"/>
                  <a:pt x="5728632" y="0"/>
                </a:cubicBezTo>
                <a:close/>
                <a:moveTo>
                  <a:pt x="4375801" y="0"/>
                </a:moveTo>
                <a:cubicBezTo>
                  <a:pt x="4546447" y="0"/>
                  <a:pt x="4684781" y="138335"/>
                  <a:pt x="4684781" y="308980"/>
                </a:cubicBezTo>
                <a:cubicBezTo>
                  <a:pt x="4684781" y="2366057"/>
                  <a:pt x="4684780" y="4423134"/>
                  <a:pt x="4684780" y="6480211"/>
                </a:cubicBezTo>
                <a:cubicBezTo>
                  <a:pt x="4684780" y="6650856"/>
                  <a:pt x="4546445" y="6789191"/>
                  <a:pt x="4375800" y="6789191"/>
                </a:cubicBezTo>
                <a:lnTo>
                  <a:pt x="4375801" y="6789189"/>
                </a:lnTo>
                <a:cubicBezTo>
                  <a:pt x="4205156" y="6789189"/>
                  <a:pt x="4066821" y="6650855"/>
                  <a:pt x="4066821" y="6480209"/>
                </a:cubicBezTo>
                <a:lnTo>
                  <a:pt x="4066821" y="308980"/>
                </a:lnTo>
                <a:cubicBezTo>
                  <a:pt x="4066821" y="138335"/>
                  <a:pt x="4205156" y="0"/>
                  <a:pt x="437580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80543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7BF8CC9-8047-44A9-A266-9FE29CA6E0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80457" y="1259114"/>
            <a:ext cx="4339771" cy="4339771"/>
          </a:xfrm>
          <a:custGeom>
            <a:avLst/>
            <a:gdLst>
              <a:gd name="connsiteX0" fmla="*/ 491088 w 4339771"/>
              <a:gd name="connsiteY0" fmla="*/ 0 h 4339771"/>
              <a:gd name="connsiteX1" fmla="*/ 3848683 w 4339771"/>
              <a:gd name="connsiteY1" fmla="*/ 0 h 4339771"/>
              <a:gd name="connsiteX2" fmla="*/ 4339771 w 4339771"/>
              <a:gd name="connsiteY2" fmla="*/ 491088 h 4339771"/>
              <a:gd name="connsiteX3" fmla="*/ 4339771 w 4339771"/>
              <a:gd name="connsiteY3" fmla="*/ 3848683 h 4339771"/>
              <a:gd name="connsiteX4" fmla="*/ 3848683 w 4339771"/>
              <a:gd name="connsiteY4" fmla="*/ 4339771 h 4339771"/>
              <a:gd name="connsiteX5" fmla="*/ 491088 w 4339771"/>
              <a:gd name="connsiteY5" fmla="*/ 4339771 h 4339771"/>
              <a:gd name="connsiteX6" fmla="*/ 0 w 4339771"/>
              <a:gd name="connsiteY6" fmla="*/ 3848683 h 4339771"/>
              <a:gd name="connsiteX7" fmla="*/ 0 w 4339771"/>
              <a:gd name="connsiteY7" fmla="*/ 491088 h 4339771"/>
              <a:gd name="connsiteX8" fmla="*/ 491088 w 4339771"/>
              <a:gd name="connsiteY8" fmla="*/ 0 h 4339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39771" h="4339771">
                <a:moveTo>
                  <a:pt x="491088" y="0"/>
                </a:moveTo>
                <a:lnTo>
                  <a:pt x="3848683" y="0"/>
                </a:lnTo>
                <a:cubicBezTo>
                  <a:pt x="4119903" y="0"/>
                  <a:pt x="4339771" y="219868"/>
                  <a:pt x="4339771" y="491088"/>
                </a:cubicBezTo>
                <a:lnTo>
                  <a:pt x="4339771" y="3848683"/>
                </a:lnTo>
                <a:cubicBezTo>
                  <a:pt x="4339771" y="4119903"/>
                  <a:pt x="4119903" y="4339771"/>
                  <a:pt x="3848683" y="4339771"/>
                </a:cubicBezTo>
                <a:lnTo>
                  <a:pt x="491088" y="4339771"/>
                </a:lnTo>
                <a:cubicBezTo>
                  <a:pt x="219868" y="4339771"/>
                  <a:pt x="0" y="4119903"/>
                  <a:pt x="0" y="3848683"/>
                </a:cubicBezTo>
                <a:lnTo>
                  <a:pt x="0" y="491088"/>
                </a:lnTo>
                <a:cubicBezTo>
                  <a:pt x="0" y="219868"/>
                  <a:pt x="219868" y="0"/>
                  <a:pt x="49108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46599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B427028-15E8-4FE0-B5AA-F067B97BAC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26623" y="2247900"/>
            <a:ext cx="2095500" cy="2095500"/>
          </a:xfrm>
          <a:custGeom>
            <a:avLst/>
            <a:gdLst>
              <a:gd name="connsiteX0" fmla="*/ 349257 w 2095500"/>
              <a:gd name="connsiteY0" fmla="*/ 0 h 2095500"/>
              <a:gd name="connsiteX1" fmla="*/ 1746243 w 2095500"/>
              <a:gd name="connsiteY1" fmla="*/ 0 h 2095500"/>
              <a:gd name="connsiteX2" fmla="*/ 2095500 w 2095500"/>
              <a:gd name="connsiteY2" fmla="*/ 349257 h 2095500"/>
              <a:gd name="connsiteX3" fmla="*/ 2095500 w 2095500"/>
              <a:gd name="connsiteY3" fmla="*/ 1746243 h 2095500"/>
              <a:gd name="connsiteX4" fmla="*/ 1746243 w 2095500"/>
              <a:gd name="connsiteY4" fmla="*/ 2095500 h 2095500"/>
              <a:gd name="connsiteX5" fmla="*/ 349257 w 2095500"/>
              <a:gd name="connsiteY5" fmla="*/ 2095500 h 2095500"/>
              <a:gd name="connsiteX6" fmla="*/ 0 w 2095500"/>
              <a:gd name="connsiteY6" fmla="*/ 1746243 h 2095500"/>
              <a:gd name="connsiteX7" fmla="*/ 0 w 2095500"/>
              <a:gd name="connsiteY7" fmla="*/ 349257 h 2095500"/>
              <a:gd name="connsiteX8" fmla="*/ 349257 w 2095500"/>
              <a:gd name="connsiteY8" fmla="*/ 0 h 209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95500" h="2095500">
                <a:moveTo>
                  <a:pt x="349257" y="0"/>
                </a:moveTo>
                <a:lnTo>
                  <a:pt x="1746243" y="0"/>
                </a:lnTo>
                <a:cubicBezTo>
                  <a:pt x="1939132" y="0"/>
                  <a:pt x="2095500" y="156368"/>
                  <a:pt x="2095500" y="349257"/>
                </a:cubicBezTo>
                <a:lnTo>
                  <a:pt x="2095500" y="1746243"/>
                </a:lnTo>
                <a:cubicBezTo>
                  <a:pt x="2095500" y="1939132"/>
                  <a:pt x="1939132" y="2095500"/>
                  <a:pt x="1746243" y="2095500"/>
                </a:cubicBezTo>
                <a:lnTo>
                  <a:pt x="349257" y="2095500"/>
                </a:lnTo>
                <a:cubicBezTo>
                  <a:pt x="156368" y="2095500"/>
                  <a:pt x="0" y="1939132"/>
                  <a:pt x="0" y="1746243"/>
                </a:cubicBezTo>
                <a:lnTo>
                  <a:pt x="0" y="349257"/>
                </a:lnTo>
                <a:cubicBezTo>
                  <a:pt x="0" y="156368"/>
                  <a:pt x="156368" y="0"/>
                  <a:pt x="34925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4A85F12-8EEF-43CF-A9F4-E767AB9761C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048250" y="2247900"/>
            <a:ext cx="2095500" cy="2095500"/>
          </a:xfrm>
          <a:custGeom>
            <a:avLst/>
            <a:gdLst>
              <a:gd name="connsiteX0" fmla="*/ 349257 w 2095500"/>
              <a:gd name="connsiteY0" fmla="*/ 0 h 2095500"/>
              <a:gd name="connsiteX1" fmla="*/ 1746243 w 2095500"/>
              <a:gd name="connsiteY1" fmla="*/ 0 h 2095500"/>
              <a:gd name="connsiteX2" fmla="*/ 2095500 w 2095500"/>
              <a:gd name="connsiteY2" fmla="*/ 349257 h 2095500"/>
              <a:gd name="connsiteX3" fmla="*/ 2095500 w 2095500"/>
              <a:gd name="connsiteY3" fmla="*/ 1746243 h 2095500"/>
              <a:gd name="connsiteX4" fmla="*/ 1746243 w 2095500"/>
              <a:gd name="connsiteY4" fmla="*/ 2095500 h 2095500"/>
              <a:gd name="connsiteX5" fmla="*/ 349257 w 2095500"/>
              <a:gd name="connsiteY5" fmla="*/ 2095500 h 2095500"/>
              <a:gd name="connsiteX6" fmla="*/ 0 w 2095500"/>
              <a:gd name="connsiteY6" fmla="*/ 1746243 h 2095500"/>
              <a:gd name="connsiteX7" fmla="*/ 0 w 2095500"/>
              <a:gd name="connsiteY7" fmla="*/ 349257 h 2095500"/>
              <a:gd name="connsiteX8" fmla="*/ 349257 w 2095500"/>
              <a:gd name="connsiteY8" fmla="*/ 0 h 209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95500" h="2095500">
                <a:moveTo>
                  <a:pt x="349257" y="0"/>
                </a:moveTo>
                <a:lnTo>
                  <a:pt x="1746243" y="0"/>
                </a:lnTo>
                <a:cubicBezTo>
                  <a:pt x="1939132" y="0"/>
                  <a:pt x="2095500" y="156368"/>
                  <a:pt x="2095500" y="349257"/>
                </a:cubicBezTo>
                <a:lnTo>
                  <a:pt x="2095500" y="1746243"/>
                </a:lnTo>
                <a:cubicBezTo>
                  <a:pt x="2095500" y="1939132"/>
                  <a:pt x="1939132" y="2095500"/>
                  <a:pt x="1746243" y="2095500"/>
                </a:cubicBezTo>
                <a:lnTo>
                  <a:pt x="349257" y="2095500"/>
                </a:lnTo>
                <a:cubicBezTo>
                  <a:pt x="156368" y="2095500"/>
                  <a:pt x="0" y="1939132"/>
                  <a:pt x="0" y="1746243"/>
                </a:cubicBezTo>
                <a:lnTo>
                  <a:pt x="0" y="349257"/>
                </a:lnTo>
                <a:cubicBezTo>
                  <a:pt x="0" y="156368"/>
                  <a:pt x="156368" y="0"/>
                  <a:pt x="34925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DA2A0D5E-AFE8-4CD6-95EA-10346FE93A2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769877" y="2247899"/>
            <a:ext cx="2095500" cy="2095500"/>
          </a:xfrm>
          <a:custGeom>
            <a:avLst/>
            <a:gdLst>
              <a:gd name="connsiteX0" fmla="*/ 349257 w 2095500"/>
              <a:gd name="connsiteY0" fmla="*/ 0 h 2095500"/>
              <a:gd name="connsiteX1" fmla="*/ 1746243 w 2095500"/>
              <a:gd name="connsiteY1" fmla="*/ 0 h 2095500"/>
              <a:gd name="connsiteX2" fmla="*/ 2095500 w 2095500"/>
              <a:gd name="connsiteY2" fmla="*/ 349257 h 2095500"/>
              <a:gd name="connsiteX3" fmla="*/ 2095500 w 2095500"/>
              <a:gd name="connsiteY3" fmla="*/ 1746243 h 2095500"/>
              <a:gd name="connsiteX4" fmla="*/ 1746243 w 2095500"/>
              <a:gd name="connsiteY4" fmla="*/ 2095500 h 2095500"/>
              <a:gd name="connsiteX5" fmla="*/ 349257 w 2095500"/>
              <a:gd name="connsiteY5" fmla="*/ 2095500 h 2095500"/>
              <a:gd name="connsiteX6" fmla="*/ 0 w 2095500"/>
              <a:gd name="connsiteY6" fmla="*/ 1746243 h 2095500"/>
              <a:gd name="connsiteX7" fmla="*/ 0 w 2095500"/>
              <a:gd name="connsiteY7" fmla="*/ 349257 h 2095500"/>
              <a:gd name="connsiteX8" fmla="*/ 349257 w 2095500"/>
              <a:gd name="connsiteY8" fmla="*/ 0 h 209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95500" h="2095500">
                <a:moveTo>
                  <a:pt x="349257" y="0"/>
                </a:moveTo>
                <a:lnTo>
                  <a:pt x="1746243" y="0"/>
                </a:lnTo>
                <a:cubicBezTo>
                  <a:pt x="1939132" y="0"/>
                  <a:pt x="2095500" y="156368"/>
                  <a:pt x="2095500" y="349257"/>
                </a:cubicBezTo>
                <a:lnTo>
                  <a:pt x="2095500" y="1746243"/>
                </a:lnTo>
                <a:cubicBezTo>
                  <a:pt x="2095500" y="1939132"/>
                  <a:pt x="1939132" y="2095500"/>
                  <a:pt x="1746243" y="2095500"/>
                </a:cubicBezTo>
                <a:lnTo>
                  <a:pt x="349257" y="2095500"/>
                </a:lnTo>
                <a:cubicBezTo>
                  <a:pt x="156368" y="2095500"/>
                  <a:pt x="0" y="1939132"/>
                  <a:pt x="0" y="1746243"/>
                </a:cubicBezTo>
                <a:lnTo>
                  <a:pt x="0" y="349257"/>
                </a:lnTo>
                <a:cubicBezTo>
                  <a:pt x="0" y="156368"/>
                  <a:pt x="156368" y="0"/>
                  <a:pt x="349257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22539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C758F0F-968F-4B38-98BC-1D12D9DF677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228850"/>
            <a:ext cx="2724150" cy="4629150"/>
          </a:xfrm>
          <a:custGeom>
            <a:avLst/>
            <a:gdLst>
              <a:gd name="connsiteX0" fmla="*/ 0 w 2724150"/>
              <a:gd name="connsiteY0" fmla="*/ 0 h 4629150"/>
              <a:gd name="connsiteX1" fmla="*/ 2724150 w 2724150"/>
              <a:gd name="connsiteY1" fmla="*/ 0 h 4629150"/>
              <a:gd name="connsiteX2" fmla="*/ 2724150 w 2724150"/>
              <a:gd name="connsiteY2" fmla="*/ 4629150 h 4629150"/>
              <a:gd name="connsiteX3" fmla="*/ 0 w 2724150"/>
              <a:gd name="connsiteY3" fmla="*/ 4629150 h 4629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4150" h="4629150">
                <a:moveTo>
                  <a:pt x="0" y="0"/>
                </a:moveTo>
                <a:lnTo>
                  <a:pt x="2724150" y="0"/>
                </a:lnTo>
                <a:lnTo>
                  <a:pt x="2724150" y="4629150"/>
                </a:lnTo>
                <a:lnTo>
                  <a:pt x="0" y="462915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F38CAF8-D0EB-48DD-9D25-E64547061BB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76550" y="0"/>
            <a:ext cx="2724150" cy="6858000"/>
          </a:xfrm>
          <a:custGeom>
            <a:avLst/>
            <a:gdLst>
              <a:gd name="connsiteX0" fmla="*/ 0 w 2724150"/>
              <a:gd name="connsiteY0" fmla="*/ 0 h 6858000"/>
              <a:gd name="connsiteX1" fmla="*/ 2724150 w 2724150"/>
              <a:gd name="connsiteY1" fmla="*/ 0 h 6858000"/>
              <a:gd name="connsiteX2" fmla="*/ 2724150 w 2724150"/>
              <a:gd name="connsiteY2" fmla="*/ 6858000 h 6858000"/>
              <a:gd name="connsiteX3" fmla="*/ 0 w 272415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4150" h="6858000">
                <a:moveTo>
                  <a:pt x="0" y="0"/>
                </a:moveTo>
                <a:lnTo>
                  <a:pt x="2724150" y="0"/>
                </a:lnTo>
                <a:lnTo>
                  <a:pt x="272415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5062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5884153-D15A-4D73-8022-F37C3CE2C1D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76800" y="0"/>
            <a:ext cx="4324350" cy="6858000"/>
          </a:xfrm>
          <a:custGeom>
            <a:avLst/>
            <a:gdLst>
              <a:gd name="connsiteX0" fmla="*/ 0 w 4324350"/>
              <a:gd name="connsiteY0" fmla="*/ 0 h 6858000"/>
              <a:gd name="connsiteX1" fmla="*/ 4324350 w 4324350"/>
              <a:gd name="connsiteY1" fmla="*/ 0 h 6858000"/>
              <a:gd name="connsiteX2" fmla="*/ 4324350 w 4324350"/>
              <a:gd name="connsiteY2" fmla="*/ 6858000 h 6858000"/>
              <a:gd name="connsiteX3" fmla="*/ 0 w 432435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24350" h="6858000">
                <a:moveTo>
                  <a:pt x="0" y="0"/>
                </a:moveTo>
                <a:lnTo>
                  <a:pt x="4324350" y="0"/>
                </a:lnTo>
                <a:lnTo>
                  <a:pt x="432435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17123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1FB5266-2F30-427F-B182-FB0F53D45C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76900" y="0"/>
            <a:ext cx="2209800" cy="5067300"/>
          </a:xfrm>
          <a:custGeom>
            <a:avLst/>
            <a:gdLst>
              <a:gd name="connsiteX0" fmla="*/ 0 w 2209800"/>
              <a:gd name="connsiteY0" fmla="*/ 0 h 5067300"/>
              <a:gd name="connsiteX1" fmla="*/ 2209800 w 2209800"/>
              <a:gd name="connsiteY1" fmla="*/ 0 h 5067300"/>
              <a:gd name="connsiteX2" fmla="*/ 2209800 w 2209800"/>
              <a:gd name="connsiteY2" fmla="*/ 5067300 h 5067300"/>
              <a:gd name="connsiteX3" fmla="*/ 0 w 2209800"/>
              <a:gd name="connsiteY3" fmla="*/ 5067300 h 5067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09800" h="5067300">
                <a:moveTo>
                  <a:pt x="0" y="0"/>
                </a:moveTo>
                <a:lnTo>
                  <a:pt x="2209800" y="0"/>
                </a:lnTo>
                <a:lnTo>
                  <a:pt x="2209800" y="5067300"/>
                </a:lnTo>
                <a:lnTo>
                  <a:pt x="0" y="50673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F6D89DD-50AA-4D2B-B477-EC8F9DFD6E8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020050" y="0"/>
            <a:ext cx="4171950" cy="1905000"/>
          </a:xfrm>
          <a:custGeom>
            <a:avLst/>
            <a:gdLst>
              <a:gd name="connsiteX0" fmla="*/ 0 w 4171950"/>
              <a:gd name="connsiteY0" fmla="*/ 0 h 1905000"/>
              <a:gd name="connsiteX1" fmla="*/ 4171950 w 4171950"/>
              <a:gd name="connsiteY1" fmla="*/ 0 h 1905000"/>
              <a:gd name="connsiteX2" fmla="*/ 4171950 w 4171950"/>
              <a:gd name="connsiteY2" fmla="*/ 1905000 h 1905000"/>
              <a:gd name="connsiteX3" fmla="*/ 0 w 4171950"/>
              <a:gd name="connsiteY3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71950" h="1905000">
                <a:moveTo>
                  <a:pt x="0" y="0"/>
                </a:moveTo>
                <a:lnTo>
                  <a:pt x="4171950" y="0"/>
                </a:lnTo>
                <a:lnTo>
                  <a:pt x="4171950" y="1905000"/>
                </a:lnTo>
                <a:lnTo>
                  <a:pt x="0" y="1905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FE58CCC9-564E-4D49-AEDB-AB1A1911C31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020050" y="2038350"/>
            <a:ext cx="2209800" cy="4819650"/>
          </a:xfrm>
          <a:custGeom>
            <a:avLst/>
            <a:gdLst>
              <a:gd name="connsiteX0" fmla="*/ 0 w 2209800"/>
              <a:gd name="connsiteY0" fmla="*/ 0 h 4819650"/>
              <a:gd name="connsiteX1" fmla="*/ 2209800 w 2209800"/>
              <a:gd name="connsiteY1" fmla="*/ 0 h 4819650"/>
              <a:gd name="connsiteX2" fmla="*/ 2209800 w 2209800"/>
              <a:gd name="connsiteY2" fmla="*/ 4819650 h 4819650"/>
              <a:gd name="connsiteX3" fmla="*/ 0 w 2209800"/>
              <a:gd name="connsiteY3" fmla="*/ 4819650 h 481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09800" h="4819650">
                <a:moveTo>
                  <a:pt x="0" y="0"/>
                </a:moveTo>
                <a:lnTo>
                  <a:pt x="2209800" y="0"/>
                </a:lnTo>
                <a:lnTo>
                  <a:pt x="2209800" y="4819650"/>
                </a:lnTo>
                <a:lnTo>
                  <a:pt x="0" y="481965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60882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58C6F4E-C0F4-4AE2-BF1C-95CC81C446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8BAF8-696F-4B3C-8281-C6CFBB7A65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D329C5-92E1-483A-BBD3-EECF793EEC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238F68-4445-49A1-8C0C-FF9B2A5FA5D1}" type="datetimeFigureOut">
              <a:rPr lang="en-US" smtClean="0"/>
              <a:t>10/11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7DE653-5960-4A02-A85E-BB95FBE35F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D98F8D-DE5C-4C92-B182-C3FD202534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CE04C5-D1FB-436E-AD5E-0CAAC23C157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9789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8" r:id="rId3"/>
    <p:sldLayoutId id="2147483653" r:id="rId4"/>
    <p:sldLayoutId id="2147483652" r:id="rId5"/>
    <p:sldLayoutId id="2147483657" r:id="rId6"/>
    <p:sldLayoutId id="2147483656" r:id="rId7"/>
    <p:sldLayoutId id="2147483655" r:id="rId8"/>
    <p:sldLayoutId id="2147483654" r:id="rId9"/>
    <p:sldLayoutId id="2147483651" r:id="rId10"/>
    <p:sldLayoutId id="2147483661" r:id="rId11"/>
    <p:sldLayoutId id="2147483662" r:id="rId12"/>
    <p:sldLayoutId id="214748366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image" Target="../media/image4.jpg"/><Relationship Id="rId7" Type="http://schemas.openxmlformats.org/officeDocument/2006/relationships/image" Target="../media/image8.jp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81" y="5186840"/>
            <a:ext cx="1890712" cy="136446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659402" y="5627974"/>
            <a:ext cx="241765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Barbara </a:t>
            </a:r>
            <a:r>
              <a:rPr lang="en-US" dirty="0" err="1"/>
              <a:t>Jinks</a:t>
            </a:r>
            <a:r>
              <a:rPr lang="en-US" dirty="0"/>
              <a:t>,</a:t>
            </a:r>
          </a:p>
          <a:p>
            <a:r>
              <a:rPr lang="en-US" dirty="0"/>
              <a:t>International Gas Union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3293" y="95674"/>
            <a:ext cx="7168519" cy="4881463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7066302" y="5693348"/>
            <a:ext cx="43636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002060"/>
                </a:solidFill>
              </a:rPr>
              <a:t>A NEW ERA OF EFFICIENCY PROGRESS</a:t>
            </a:r>
          </a:p>
          <a:p>
            <a:pPr algn="ctr"/>
            <a:r>
              <a:rPr lang="en-US" sz="2000" dirty="0">
                <a:solidFill>
                  <a:srgbClr val="002060"/>
                </a:solidFill>
              </a:rPr>
              <a:t>Natural Gas Delivering on the Challenge</a:t>
            </a:r>
          </a:p>
        </p:txBody>
      </p:sp>
    </p:spTree>
    <p:extLst>
      <p:ext uri="{BB962C8B-B14F-4D97-AF65-F5344CB8AC3E}">
        <p14:creationId xmlns:p14="http://schemas.microsoft.com/office/powerpoint/2010/main" val="1736500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C6FB8FF8-0548-554B-9B3D-30F35470D4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</p:spPr>
        <p:txBody>
          <a:bodyPr/>
          <a:lstStyle/>
          <a:p>
            <a:r>
              <a:rPr lang="en-US" altLang="en-US" sz="2400" dirty="0">
                <a:solidFill>
                  <a:srgbClr val="0070C0"/>
                </a:solidFill>
                <a:latin typeface="PT Sans" panose="020B0503020203020204" pitchFamily="34" charset="77"/>
                <a:ea typeface="Calibri" panose="020F0502020204030204" pitchFamily="34" charset="0"/>
                <a:cs typeface="Calibri" panose="020F0502020204030204" pitchFamily="34" charset="0"/>
                <a:sym typeface="Open Sans" panose="020B0606030504020204"/>
              </a:rPr>
              <a:t>Current Natural Gas End-use Applications Deliver Very High Efficiencies</a:t>
            </a:r>
            <a:endParaRPr lang="en-CA" b="1" dirty="0"/>
          </a:p>
        </p:txBody>
      </p:sp>
      <p:sp>
        <p:nvSpPr>
          <p:cNvPr id="9" name="TextBox 8"/>
          <p:cNvSpPr txBox="1"/>
          <p:nvPr/>
        </p:nvSpPr>
        <p:spPr>
          <a:xfrm>
            <a:off x="2717321" y="1089169"/>
            <a:ext cx="673330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3587623" y="1458501"/>
            <a:ext cx="328723" cy="1767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0085" y="234859"/>
            <a:ext cx="933090" cy="684943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736486" y="1913916"/>
            <a:ext cx="20869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omestic and </a:t>
            </a:r>
          </a:p>
          <a:p>
            <a:r>
              <a:rPr lang="en-US" dirty="0"/>
              <a:t>Commercial Heating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36485" y="3265811"/>
            <a:ext cx="18876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ower Generation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30001" y="4593858"/>
            <a:ext cx="23246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dustrial Applications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36485" y="5737239"/>
            <a:ext cx="237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836887" y="1456102"/>
            <a:ext cx="651457" cy="123874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112881" y="1787340"/>
            <a:ext cx="19675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90%+ High </a:t>
            </a:r>
          </a:p>
          <a:p>
            <a:pPr algn="ctr"/>
            <a:r>
              <a:rPr lang="en-US" dirty="0"/>
              <a:t>Efficiency Furnaces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3261" y="1419372"/>
            <a:ext cx="837139" cy="1358418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9253804" y="1854263"/>
            <a:ext cx="202420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90%+ Efficient </a:t>
            </a:r>
          </a:p>
          <a:p>
            <a:pPr algn="ctr"/>
            <a:r>
              <a:rPr lang="en-US" dirty="0"/>
              <a:t>Condensing Boilers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8123" y="2866321"/>
            <a:ext cx="1648987" cy="116831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5695" y="2850066"/>
            <a:ext cx="1648987" cy="1168311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5048985" y="4345520"/>
            <a:ext cx="209538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Up to 85% Efficiency</a:t>
            </a:r>
          </a:p>
          <a:p>
            <a:pPr algn="ctr"/>
            <a:r>
              <a:rPr lang="en-US" dirty="0"/>
              <a:t>Of Cogeneration</a:t>
            </a:r>
          </a:p>
          <a:p>
            <a:pPr algn="ctr"/>
            <a:r>
              <a:rPr lang="en-US" dirty="0"/>
              <a:t> Plant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9253804" y="3034867"/>
            <a:ext cx="178882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80% Efficiency</a:t>
            </a:r>
          </a:p>
          <a:p>
            <a:pPr algn="ctr"/>
            <a:r>
              <a:rPr lang="en-US" dirty="0"/>
              <a:t>Combined Heat/ </a:t>
            </a:r>
          </a:p>
          <a:p>
            <a:pPr algn="ctr"/>
            <a:r>
              <a:rPr lang="en-US" dirty="0"/>
              <a:t>Power Plants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0169" y="4377590"/>
            <a:ext cx="1648987" cy="859191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5148711" y="3047369"/>
            <a:ext cx="209538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/>
              <a:t>Up to 60% Efficiency</a:t>
            </a:r>
          </a:p>
          <a:p>
            <a:pPr algn="ctr"/>
            <a:r>
              <a:rPr lang="en-US" dirty="0"/>
              <a:t>Combined Cycle </a:t>
            </a:r>
          </a:p>
          <a:p>
            <a:pPr algn="ctr"/>
            <a:r>
              <a:rPr lang="en-US" dirty="0"/>
              <a:t>Power Plants</a:t>
            </a: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8403" y="4295328"/>
            <a:ext cx="1463569" cy="941453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9331004" y="4295328"/>
            <a:ext cx="186980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High Efficiency</a:t>
            </a:r>
          </a:p>
          <a:p>
            <a:pPr algn="ctr"/>
            <a:r>
              <a:rPr lang="en-US" dirty="0"/>
              <a:t>Industrial Natural </a:t>
            </a:r>
          </a:p>
          <a:p>
            <a:pPr algn="ctr"/>
            <a:r>
              <a:rPr lang="en-US" dirty="0"/>
              <a:t>Gas Burners</a:t>
            </a:r>
          </a:p>
        </p:txBody>
      </p:sp>
    </p:spTree>
    <p:extLst>
      <p:ext uri="{BB962C8B-B14F-4D97-AF65-F5344CB8AC3E}">
        <p14:creationId xmlns:p14="http://schemas.microsoft.com/office/powerpoint/2010/main" val="119425442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C6FB8FF8-0548-554B-9B3D-30F35470D4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824" y="622802"/>
            <a:ext cx="10933351" cy="332399"/>
          </a:xfrm>
        </p:spPr>
        <p:txBody>
          <a:bodyPr/>
          <a:lstStyle/>
          <a:p>
            <a:br>
              <a:rPr lang="en-US" altLang="en-US" sz="2400" dirty="0">
                <a:solidFill>
                  <a:srgbClr val="0070C0"/>
                </a:solidFill>
                <a:latin typeface="PT Sans" panose="020B0503020203020204" pitchFamily="34" charset="77"/>
                <a:ea typeface="Calibri" panose="020F0502020204030204" pitchFamily="34" charset="0"/>
                <a:cs typeface="Calibri" panose="020F0502020204030204" pitchFamily="34" charset="0"/>
                <a:sym typeface="Open Sans" panose="020B0606030504020204"/>
              </a:rPr>
            </a:br>
            <a:r>
              <a:rPr lang="en-US" altLang="en-US" sz="2400" dirty="0">
                <a:solidFill>
                  <a:srgbClr val="0070C0"/>
                </a:solidFill>
                <a:latin typeface="PT Sans" panose="020B0503020203020204" pitchFamily="34" charset="77"/>
                <a:ea typeface="Calibri" panose="020F0502020204030204" pitchFamily="34" charset="0"/>
                <a:cs typeface="Calibri" panose="020F0502020204030204" pitchFamily="34" charset="0"/>
                <a:sym typeface="Open Sans" panose="020B0606030504020204"/>
              </a:rPr>
              <a:t>Current Natural Gas Delivery Systems Achieve High System Efficiency</a:t>
            </a:r>
            <a:br>
              <a:rPr lang="en-US" altLang="en-US" sz="2400" dirty="0">
                <a:solidFill>
                  <a:srgbClr val="0070C0"/>
                </a:solidFill>
                <a:latin typeface="PT Sans" panose="020B0503020203020204" pitchFamily="34" charset="77"/>
                <a:ea typeface="Calibri" panose="020F0502020204030204" pitchFamily="34" charset="0"/>
                <a:cs typeface="Calibri" panose="020F0502020204030204" pitchFamily="34" charset="0"/>
                <a:sym typeface="Open Sans" panose="020B0606030504020204"/>
              </a:rPr>
            </a:br>
            <a:r>
              <a:rPr lang="en-US" altLang="en-US" sz="1800" dirty="0">
                <a:solidFill>
                  <a:srgbClr val="0070C0"/>
                </a:solidFill>
                <a:latin typeface="PT Sans" panose="020B0503020203020204" pitchFamily="34" charset="77"/>
                <a:ea typeface="Calibri" panose="020F0502020204030204" pitchFamily="34" charset="0"/>
                <a:cs typeface="Calibri" panose="020F0502020204030204" pitchFamily="34" charset="0"/>
                <a:sym typeface="Open Sans" panose="020B0606030504020204"/>
              </a:rPr>
              <a:t>US system</a:t>
            </a:r>
            <a:endParaRPr lang="en-CA" sz="18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2730021" y="1089169"/>
            <a:ext cx="673330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3587623" y="1458501"/>
            <a:ext cx="328723" cy="1767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0085" y="234859"/>
            <a:ext cx="933090" cy="68494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4503" y="473103"/>
            <a:ext cx="9283992" cy="6576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42853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2730021" y="1089169"/>
            <a:ext cx="673330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3587623" y="1458501"/>
            <a:ext cx="328723" cy="1767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0085" y="234859"/>
            <a:ext cx="933090" cy="68494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00" y="1089169"/>
            <a:ext cx="5408989" cy="523196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653213" y="3031230"/>
            <a:ext cx="233345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002060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66061559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Office Theme">
  <a:themeElements>
    <a:clrScheme name="Custom 9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82B0"/>
      </a:accent1>
      <a:accent2>
        <a:srgbClr val="0094C8"/>
      </a:accent2>
      <a:accent3>
        <a:srgbClr val="00A4DE"/>
      </a:accent3>
      <a:accent4>
        <a:srgbClr val="00B0F0"/>
      </a:accent4>
      <a:accent5>
        <a:srgbClr val="0094C8"/>
      </a:accent5>
      <a:accent6>
        <a:srgbClr val="0082B0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48</TotalTime>
  <Words>80</Words>
  <Application>Microsoft Office PowerPoint</Application>
  <PresentationFormat>Widescreen</PresentationFormat>
  <Paragraphs>28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Calibri</vt:lpstr>
      <vt:lpstr>Calibri Light</vt:lpstr>
      <vt:lpstr>Open Sans</vt:lpstr>
      <vt:lpstr>PT Sans</vt:lpstr>
      <vt:lpstr>Office Theme</vt:lpstr>
      <vt:lpstr>think-cell Slide</vt:lpstr>
      <vt:lpstr>PowerPoint Presentation</vt:lpstr>
      <vt:lpstr>Current Natural Gas End-use Applications Deliver Very High Efficiencies</vt:lpstr>
      <vt:lpstr> Current Natural Gas Delivery Systems Achieve High System Efficiency US system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yan</dc:creator>
  <cp:lastModifiedBy>Barbara Jinks</cp:lastModifiedBy>
  <cp:revision>151</cp:revision>
  <dcterms:created xsi:type="dcterms:W3CDTF">2018-07-31T11:21:41Z</dcterms:created>
  <dcterms:modified xsi:type="dcterms:W3CDTF">2019-10-11T16:18:09Z</dcterms:modified>
</cp:coreProperties>
</file>